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26"/>
  </p:notesMasterIdLst>
  <p:handoutMasterIdLst>
    <p:handoutMasterId r:id="rId27"/>
  </p:handoutMasterIdLst>
  <p:sldIdLst>
    <p:sldId id="418" r:id="rId24"/>
    <p:sldId id="515" r:id="rId25"/>
  </p:sldIdLst>
  <p:sldSz cx="9144000" cy="5143500" type="screen16x9"/>
  <p:notesSz cx="6883400" cy="9906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00D318"/>
    <a:srgbClr val="A02BFF"/>
    <a:srgbClr val="00CEFF"/>
    <a:srgbClr val="EA288C"/>
    <a:srgbClr val="BB0F9A"/>
    <a:srgbClr val="FFFF00"/>
    <a:srgbClr val="FDFD87"/>
    <a:srgbClr val="4D4D4D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3606" autoAdjust="0"/>
  </p:normalViewPr>
  <p:slideViewPr>
    <p:cSldViewPr snapToGrid="0" snapToObjects="1">
      <p:cViewPr varScale="1">
        <p:scale>
          <a:sx n="92" d="100"/>
          <a:sy n="92" d="100"/>
        </p:scale>
        <p:origin x="1086" y="78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0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0/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9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4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9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3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4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71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17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86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pt-BR" dirty="0" smtClean="0"/>
              <a:t>Projetos estratégicos</a:t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890305"/>
            <a:ext cx="3979804" cy="213480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-    PG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?? Macro planejamento de ondas do programa 1, depende da abertura de projetos no CA e prioridade global adequada para alocação de recursos e inicio efetivo das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tivida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alta de conhecimento da complexidade/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qt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 regras por TI, com a dependência de definição previa do usuário até o inicio do DSOL.</a:t>
            </a:r>
          </a:p>
          <a:p>
            <a:pPr marL="171450" indent="-171450">
              <a:buFontTx/>
              <a:buChar char="-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 cronograma do programa 2 criado a partir da RFP sem detalhamento dos macro requisitos e insumos informacionai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de ondas e aderência aos calendários de release OI dependem da definição de requisitos, regras e critérios de aceitação por parte do usuário de fraude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e SLA de tempo de resposta de chamada online a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58702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50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2" name="Botão de ação: Informações 107">
            <a:hlinkClick r:id="rId3" action="ppaction://hlinksldjump" highlightClick="1"/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503801" y="1261325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-106" charset="0"/>
              <a:buNone/>
              <a:tabLst/>
              <a:defRPr/>
            </a:pP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7870169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</a:t>
            </a:r>
            <a:r>
              <a:rPr lang="pt-BR" sz="800" i="1">
                <a:latin typeface="Simplon BP Regular"/>
                <a:cs typeface="Simplon BP Regular"/>
              </a:rPr>
              <a:t>- </a:t>
            </a:r>
            <a:r>
              <a:rPr lang="pt-BR" sz="800" i="1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8710521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ograma Novo </a:t>
            </a:r>
            <a:r>
              <a:rPr lang="pt-BR" sz="1600" dirty="0"/>
              <a:t>antifraude RAID-FMS (</a:t>
            </a:r>
            <a:r>
              <a:rPr lang="pt-BR" sz="1600" dirty="0" smtClean="0"/>
              <a:t>PRJ00024387 – INFRA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15566"/>
            <a:ext cx="397751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dirty="0" smtClean="0"/>
              <a:t>Frente Infra:</a:t>
            </a:r>
            <a:r>
              <a:rPr lang="pt-BR" sz="1000" dirty="0" smtClean="0"/>
              <a:t>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Aquisição de HW DEV/HML/PRD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t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bertura PRJ infra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16/08/17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G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67</a:t>
            </a:r>
            <a:endParaRPr lang="pt-BR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 de Custo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fra DEV/HML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R$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88.504,92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 PR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Em revisão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DEV/HML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uardando inicio DSOL em 16/10, previsão DEV em 14/11;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PR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Em revisão de ETI HW considerando novas premissas volumetria informadas pelo usuário</a:t>
            </a:r>
          </a:p>
          <a:p>
            <a:pPr lvl="0">
              <a:spcAft>
                <a:spcPts val="0"/>
              </a:spcAft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ente Funcional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evantamento e elaboração </a:t>
            </a: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Realizadas reuniões de levantamento macro de regras, fontes e processos do motor de fraudes em BH.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nviado em 02/10. PDP em andamento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tup Programa 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Abertura e priorização de projetos no CA para as ondas planejadas no programa 1 em andamento pelo usuário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lanejamento e Governanç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Validação do macro cronograma RAID-FMS junto às demais áreas de TI impactadas e formalização de governança em andamento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697831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Concluir abertura de priorização de PRJ por onda no CA (onda 3 ,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e DW); Resp.: Kleyton/Marcio Relacionamento Data: 11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visar Macro cronograma da Onda 2 e consolidar atividades de acordo com governança TI/SI/Operações; Leandro/Adriana/Cezar Data: 05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Elaborar ETI e CF para aquisição ambiente Produtivo; Resp.: Fabian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Data:06/10</a:t>
            </a:r>
            <a:endParaRPr lang="pt-B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Iniciar DSOL DEV/HML; Resp.: Alexandre Nascimento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Data:16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união d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Handover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do ambiente de PRD: P&amp;I Data 16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0098</TotalTime>
  <Words>290</Words>
  <Application>Microsoft Office PowerPoint</Application>
  <PresentationFormat>Apresentação na tela (16:9)</PresentationFormat>
  <Paragraphs>35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36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s estratégicos  </vt:lpstr>
      <vt:lpstr>Programa Novo antifraude RAID-FMS (PRJ00024387 – INFRA) Escopo: Implementar nova Solução Antifraude na Oi a partir da aplicação RAID-FM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2201</cp:revision>
  <cp:lastPrinted>2017-08-29T20:31:32Z</cp:lastPrinted>
  <dcterms:created xsi:type="dcterms:W3CDTF">2013-05-14T05:19:21Z</dcterms:created>
  <dcterms:modified xsi:type="dcterms:W3CDTF">2017-10-05T14:5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